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64" r:id="rId2"/>
    <p:sldId id="265" r:id="rId3"/>
  </p:sldIdLst>
  <p:sldSz cx="8961438" cy="6721475"/>
  <p:notesSz cx="6743700" cy="9906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4" autoAdjust="0"/>
    <p:restoredTop sz="94684" autoAdjust="0"/>
  </p:normalViewPr>
  <p:slideViewPr>
    <p:cSldViewPr snapToGrid="0" snapToObjects="1">
      <p:cViewPr varScale="1">
        <p:scale>
          <a:sx n="116" d="100"/>
          <a:sy n="116" d="100"/>
        </p:scale>
        <p:origin x="-402" y="-114"/>
      </p:cViewPr>
      <p:guideLst>
        <p:guide orient="horz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3318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 smtClean="0"/>
              <a:pPr eaLnBrk="1" hangingPunct="1"/>
              <a:t>0</a:t>
            </a:fld>
            <a:endParaRPr lang="en-US" sz="1200" smtClean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 smtClean="0"/>
              <a:pPr eaLnBrk="1" hangingPunct="1"/>
              <a:t>1</a:t>
            </a:fld>
            <a:endParaRPr lang="en-US" sz="1200" smtClean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Last Modified 8/2/2013 1:33 PM Eastern Standard Time</a:t>
            </a:r>
            <a:endParaRPr lang="en-US" sz="900" baseline="0" noProof="0" smtClean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smtClean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oleObject" Target="../embeddings/oleObject1.bin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8/2/2013 1:33 PM Eastern Standard Time</a:t>
            </a:r>
            <a:endParaRPr lang="en-US" baseline="0" noProof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Printed</a:t>
            </a:r>
            <a:endParaRPr lang="en-US" baseline="0" noProof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>
                  <a:solidFill>
                    <a:srgbClr val="000000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2" name="Slide Number Placeholder 1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tags" Target="../tags/tag41.xml"/><Relationship Id="rId3" Type="http://schemas.openxmlformats.org/officeDocument/2006/relationships/tags" Target="../tags/tag18.xml"/><Relationship Id="rId21" Type="http://schemas.openxmlformats.org/officeDocument/2006/relationships/tags" Target="../tags/tag36.xml"/><Relationship Id="rId34" Type="http://schemas.openxmlformats.org/officeDocument/2006/relationships/image" Target="../media/image5.emf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33" Type="http://schemas.openxmlformats.org/officeDocument/2006/relationships/oleObject" Target="../embeddings/oleObject3.bin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32" Type="http://schemas.openxmlformats.org/officeDocument/2006/relationships/image" Target="../media/image4.emf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31" Type="http://schemas.openxmlformats.org/officeDocument/2006/relationships/oleObject" Target="../embeddings/oleObject2.bin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tags" Target="../tags/tag42.xml"/><Relationship Id="rId30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3" Type="http://schemas.openxmlformats.org/officeDocument/2006/relationships/tags" Target="../tags/tag45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oleObject" Target="../embeddings/oleObject4.bin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41" Type="http://schemas.openxmlformats.org/officeDocument/2006/relationships/notesSlide" Target="../notesSlides/notesSlide2.xml"/><Relationship Id="rId1" Type="http://schemas.openxmlformats.org/officeDocument/2006/relationships/vmlDrawing" Target="../drawings/vmlDrawing3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slideLayout" Target="../slideLayouts/slideLayout2.xml"/><Relationship Id="rId45" Type="http://schemas.openxmlformats.org/officeDocument/2006/relationships/image" Target="../media/image6.emf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4" Type="http://schemas.openxmlformats.org/officeDocument/2006/relationships/oleObject" Target="../embeddings/oleObject5.bin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48318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119063" y="230188"/>
            <a:ext cx="8618537" cy="292388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dirty="0" smtClean="0"/>
              <a:t>Single Series</a:t>
            </a:r>
            <a:endParaRPr lang="en-US" dirty="0" smtClean="0"/>
          </a:p>
        </p:txBody>
      </p:sp>
      <p:cxnSp>
        <p:nvCxnSpPr>
          <p:cNvPr id="67" name="Straight Connector 66"/>
          <p:cNvCxnSpPr/>
          <p:nvPr>
            <p:custDataLst>
              <p:tags r:id="rId5"/>
            </p:custDataLst>
          </p:nvPr>
        </p:nvCxnSpPr>
        <p:spPr bwMode="gray">
          <a:xfrm>
            <a:off x="3311525" y="4916488"/>
            <a:ext cx="2857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6"/>
            </p:custDataLst>
          </p:nvPr>
        </p:nvCxnSpPr>
        <p:spPr bwMode="gray">
          <a:xfrm>
            <a:off x="7292975" y="3344863"/>
            <a:ext cx="2857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7"/>
            </p:custDataLst>
          </p:nvPr>
        </p:nvCxnSpPr>
        <p:spPr bwMode="gray">
          <a:xfrm>
            <a:off x="2311400" y="992188"/>
            <a:ext cx="2857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8"/>
            </p:custDataLst>
          </p:nvPr>
        </p:nvCxnSpPr>
        <p:spPr bwMode="gray">
          <a:xfrm>
            <a:off x="6292850" y="4659313"/>
            <a:ext cx="2857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9"/>
            </p:custDataLst>
          </p:nvPr>
        </p:nvCxnSpPr>
        <p:spPr bwMode="gray">
          <a:xfrm>
            <a:off x="5302250" y="4135438"/>
            <a:ext cx="2857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0"/>
            </p:custDataLst>
          </p:nvPr>
        </p:nvCxnSpPr>
        <p:spPr bwMode="gray">
          <a:xfrm>
            <a:off x="4302125" y="4916488"/>
            <a:ext cx="2857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11"/>
            </p:custDataLst>
          </p:nvPr>
        </p:nvCxnSpPr>
        <p:spPr bwMode="gray">
          <a:xfrm>
            <a:off x="1320800" y="1516063"/>
            <a:ext cx="2857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97510565"/>
              </p:ext>
            </p:extLst>
          </p:nvPr>
        </p:nvGraphicFramePr>
        <p:xfrm>
          <a:off x="368299" y="896937"/>
          <a:ext cx="8162998" cy="4124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Chart" r:id="rId33" imgW="8162998" imgH="4124388" progId="MSGraph.Chart.8">
                  <p:embed followColorScheme="full"/>
                </p:oleObj>
              </mc:Choice>
              <mc:Fallback>
                <p:oleObj name="Chart" r:id="rId33" imgW="8162998" imgH="41243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368299" y="896937"/>
                        <a:ext cx="8162998" cy="41243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/>
          <p:cNvSpPr/>
          <p:nvPr>
            <p:custDataLst>
              <p:tags r:id="rId13"/>
            </p:custDataLst>
          </p:nvPr>
        </p:nvSpPr>
        <p:spPr bwMode="auto">
          <a:xfrm>
            <a:off x="2601913" y="2794000"/>
            <a:ext cx="704850" cy="539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7" name="Rectangle 76"/>
          <p:cNvSpPr/>
          <p:nvPr>
            <p:custDataLst>
              <p:tags r:id="rId14"/>
            </p:custDataLst>
          </p:nvPr>
        </p:nvSpPr>
        <p:spPr bwMode="auto">
          <a:xfrm>
            <a:off x="7583488" y="2794000"/>
            <a:ext cx="695325" cy="539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859463" y="4275138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C848165-CB0A-46C3-A9D9-AF464B32E0EE}" type="datetime'''''''''''''''''''''''''''''''''2'''">
              <a:rPr lang="en-US"/>
              <a:pPr/>
              <a:t>2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90588" y="5287963"/>
            <a:ext cx="1476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E3F8292-D5A2-4ABB-ACBA-C28A5FB59537}" type="datetime'''A'''''''''''''''''''''''''''''">
              <a:rPr lang="en-US"/>
              <a:pPr/>
              <a:t>A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816225" y="2832100"/>
            <a:ext cx="2762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827FE67-F00E-4F89-AD5A-8C6E561E9FED}" type="datetime'''''''''''1''''''''5'''''''''''''''''''''''">
              <a:rPr lang="en-US"/>
              <a:pPr/>
              <a:t>15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885950" y="5287963"/>
            <a:ext cx="1476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5ABFC16-D325-4DCE-BC9F-EF28E102C5FB}" type="datetime'''''''''''''''B'''''''''''''''''''''">
              <a:rPr lang="en-US"/>
              <a:pPr/>
              <a:t>B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2874963" y="5287963"/>
            <a:ext cx="1587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FD5C1E4-6395-41A0-827F-F2D0CF94F4A4}" type="datetime'''''''''''''''''''''''''''''''C'''''''''''''''''''''">
              <a:rPr lang="en-US"/>
              <a:pPr/>
              <a:t>C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872038" y="5287963"/>
            <a:ext cx="1476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38CB9AD-B348-4009-98C2-D526C5E0ECFB}" type="datetime'''''''''''''''''''''''''''''E'''''''''''''''''''''''''''''''''">
              <a:rPr lang="en-US"/>
              <a:pPr/>
              <a:t>E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870325" y="5287963"/>
            <a:ext cx="1587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2A8B704-068E-4F5F-AFC4-8D4B26581D87}" type="datetime'''''''''''''''''''''''''''''''''''''''D'''''''''''''''''''''">
              <a:rPr lang="en-US"/>
              <a:pPr/>
              <a:t>D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3833813" y="4941888"/>
            <a:ext cx="231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28B783B-469E-49C6-BAFC-9EA3E0B9401D}" type="datetime'''-''''''''''''''''''''''''''''8'''''''''''''''''''''''''''''">
              <a:rPr lang="en-US"/>
              <a:pPr/>
              <a:t>-8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4864100" y="4403725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516774D-C938-4F3F-9DF7-CEEA09A8FDEA}" type="datetime'''''''''''''''''''''''''''''''''''''''''''''''''3'''''">
              <a:rPr lang="en-US"/>
              <a:pPr/>
              <a:t>3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872163" y="5287963"/>
            <a:ext cx="1365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8B274E2-EC5B-4444-8D99-287842D398B0}" type="datetime'''''''''''''''''''''''F'''''''''">
              <a:rPr lang="en-US"/>
              <a:pPr/>
              <a:t>F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7851775" y="5287963"/>
            <a:ext cx="1587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D476F54-0B44-4249-BE52-E98712D21886}" type="datetime'''''''''''''''''''H'''''''''''''''''''''''''''''''''''''''''''">
              <a:rPr lang="en-US"/>
              <a:pPr/>
              <a:t>H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85" name="Rectangle 8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850188" y="2436813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D8EF04D-61CE-4D32-93B4-A87654C02403}" type="datetime'''''''''''''''''''''''6'">
              <a:rPr lang="en-US"/>
              <a:pPr/>
              <a:t>6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850063" y="5287963"/>
            <a:ext cx="1714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2863B7B-AE0B-465E-804B-67F8EC79F456}" type="datetime'''''''''''''''''''''''''''''''''''''''G'''''''''''''''''''''''">
              <a:rPr lang="en-US"/>
              <a:pPr/>
              <a:t>G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854825" y="3879850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E6C0B3A-1C87-4267-AE69-E768E49EFC22}" type="datetime'''''''''''5'''''''''">
              <a:rPr lang="en-US"/>
              <a:pPr/>
              <a:t>5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1317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119063" y="230188"/>
            <a:ext cx="8618537" cy="584775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dirty="0" smtClean="0"/>
              <a:t>2 Series</a:t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6147" name="McK 4. Footnot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>
                <a:latin typeface="+mn-lt"/>
              </a:rPr>
              <a:t>1 Footnot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/>
        <p:txBody>
          <a:bodyPr/>
          <a:lstStyle/>
          <a:p>
            <a:fld id="{42C328C1-A84F-4A39-A664-DBA00541A8C6}" type="slidenum">
              <a:rPr lang="en-US" noProof="0" smtClean="0"/>
              <a:pPr/>
              <a:t>1</a:t>
            </a:fld>
            <a:endParaRPr lang="en-US" noProof="0" dirty="0"/>
          </a:p>
        </p:txBody>
      </p:sp>
      <p:cxnSp>
        <p:nvCxnSpPr>
          <p:cNvPr id="15" name="Straight Connector 14"/>
          <p:cNvCxnSpPr/>
          <p:nvPr>
            <p:custDataLst>
              <p:tags r:id="rId7"/>
            </p:custDataLst>
          </p:nvPr>
        </p:nvCxnSpPr>
        <p:spPr bwMode="gray">
          <a:xfrm>
            <a:off x="6826250" y="2049463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8"/>
            </p:custDataLst>
          </p:nvPr>
        </p:nvCxnSpPr>
        <p:spPr bwMode="gray">
          <a:xfrm>
            <a:off x="5988050" y="3030538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9"/>
            </p:custDataLst>
          </p:nvPr>
        </p:nvCxnSpPr>
        <p:spPr bwMode="gray">
          <a:xfrm>
            <a:off x="5149850" y="3887788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10"/>
            </p:custDataLst>
          </p:nvPr>
        </p:nvCxnSpPr>
        <p:spPr bwMode="gray">
          <a:xfrm>
            <a:off x="4311650" y="4868863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11"/>
            </p:custDataLst>
          </p:nvPr>
        </p:nvCxnSpPr>
        <p:spPr bwMode="gray">
          <a:xfrm>
            <a:off x="3463925" y="4868863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12"/>
            </p:custDataLst>
          </p:nvPr>
        </p:nvCxnSpPr>
        <p:spPr bwMode="gray">
          <a:xfrm>
            <a:off x="2625725" y="3030538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13"/>
            </p:custDataLst>
          </p:nvPr>
        </p:nvCxnSpPr>
        <p:spPr bwMode="gray">
          <a:xfrm>
            <a:off x="1787525" y="3640138"/>
            <a:ext cx="2381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09462427"/>
              </p:ext>
            </p:extLst>
          </p:nvPr>
        </p:nvGraphicFramePr>
        <p:xfrm>
          <a:off x="977900" y="849313"/>
          <a:ext cx="6915093" cy="4124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Chart" r:id="rId44" imgW="6915093" imgH="4124388" progId="MSGraph.Chart.8">
                  <p:embed followColorScheme="full"/>
                </p:oleObj>
              </mc:Choice>
              <mc:Fallback>
                <p:oleObj name="Chart" r:id="rId44" imgW="6915093" imgH="41243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977900" y="849313"/>
                        <a:ext cx="6915093" cy="41243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Rectangle 57"/>
          <p:cNvSpPr/>
          <p:nvPr>
            <p:custDataLst>
              <p:tags r:id="rId15"/>
            </p:custDataLst>
          </p:nvPr>
        </p:nvSpPr>
        <p:spPr bwMode="auto">
          <a:xfrm>
            <a:off x="4554538" y="4356100"/>
            <a:ext cx="590550" cy="539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>
            <p:custDataLst>
              <p:tags r:id="rId16"/>
            </p:custDataLst>
          </p:nvPr>
        </p:nvSpPr>
        <p:spPr bwMode="auto">
          <a:xfrm>
            <a:off x="2868613" y="4356100"/>
            <a:ext cx="590550" cy="539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80988" y="4013200"/>
            <a:ext cx="7445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F750FC6-9BFD-4C4A-870D-C4EE57E4C10E}" type="datetime'''''''S''''''e''''''''r''''''''i''''''''''e''''s'' 1'''">
              <a:rPr lang="en-US"/>
              <a:pPr/>
              <a:t>Series 1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280988" y="3641725"/>
            <a:ext cx="7445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28388A0-EAE4-49A4-881A-CC83A263E785}" type="datetime'''''''S''''e''r''i''''''''''''e''''''''''s'''' ''2'''''">
              <a:rPr lang="en-US"/>
              <a:pPr/>
              <a:t>Series 2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110413" y="5240338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EEC6A25-5C90-4979-A176-F08152C93894}" type="datetime'''L''''''''''''''''''''''a''''''''b''''''''''e''l'''''">
              <a:rPr lang="en-US"/>
              <a:pPr/>
              <a:t>Label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283450" y="674688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D87256A-D2BC-4AAD-8E8B-FA2E456220AD}" type="datetime'''''''''''''''''''''''''''''''''''9'''''''">
              <a:rPr lang="en-US"/>
              <a:pPr/>
              <a:t>9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272213" y="5240338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D2F0391-F835-4E34-999B-8B931D9FC279}" type="datetime'''L''a''''b''e''''l'''''''''''''''''''''''">
              <a:rPr lang="en-US"/>
              <a:pPr/>
              <a:t>Label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445250" y="1779588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C2B3037-2643-484D-A6EE-3884F6387862}" type="datetime'''''''''8'''''''''''''''''''''''''''''''''''">
              <a:rPr lang="en-US"/>
              <a:pPr/>
              <a:t>8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5434013" y="5240338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B2CD2B1-12A8-4FDF-863A-B5449FA12BFA}" type="datetime'''''L''''''''''''''''''''a''b''''''''''''e''''l'''''''''''">
              <a:rPr lang="en-US"/>
              <a:pPr/>
              <a:t>Label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607050" y="2760663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D47B14B-0AB7-421F-A98E-C2B028FF6323}" type="datetime'7'''''''''''''">
              <a:rPr lang="en-US"/>
              <a:pPr/>
              <a:t>7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595813" y="5240338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96BFA7E-5F0E-48DC-950B-BB522103F573}" type="datetime'La''''''''''b''e''''''''''''''l'''''''''''''''''''''''''">
              <a:rPr lang="en-US"/>
              <a:pPr/>
              <a:t>Label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4768850" y="3617913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194F4B9-F7C5-4FC0-8088-9B69E4E591D9}" type="datetime'''''''''''''''''''''''''''''8'''''''''''''''''''''''''''''''''">
              <a:rPr lang="en-US"/>
              <a:pPr/>
              <a:t>8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4768850" y="4560888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2F3B8B5-EEA9-4D5E-9703-371306F0D8F6}" type="datetime'''''''''''''3'''''''''''''''''''''''''''''''''''''''''''''''''">
              <a:rPr lang="en-US"/>
              <a:pPr/>
              <a:t>3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4768850" y="4070350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F6A34F8-2691-4F21-A425-1A62CFBA295C}" type="datetime'''''''''''5'''''''''''''''''''''''''''">
              <a:rPr lang="en-US"/>
              <a:pPr/>
              <a:t>5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3752850" y="5240338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9FC9A88-4660-42EA-AA8B-19817AF20FE6}" type="datetime'''L''''''''''''''''''''''a''''''''''''''''''b''''e''''''l'">
              <a:rPr lang="en-US"/>
              <a:pPr/>
              <a:t>Label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3890963" y="4894263"/>
            <a:ext cx="231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FE88524-A835-4AA0-B53D-9F7923994C9A}" type="datetime'''''''''''''''''''''''''''''''''''''''''''-''''''4'''">
              <a:rPr lang="en-US"/>
              <a:pPr/>
              <a:t>-4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3925888" y="4622800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201AAD4-8C29-4F5B-BC3E-1306DD3494BE}" type="datetime'''''''''''''2'''''''''''''''''''''''''''''''''''''''''''''">
              <a:rPr lang="en-US"/>
              <a:pPr/>
              <a:t>2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3925888" y="4379913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41CEDB5-C03D-4CE3-A413-FD2004E6D971}" type="datetime'''''''''''''''''''''''''''''''''''''''''''''''2'''''''''''''''">
              <a:rPr lang="en-US"/>
              <a:pPr/>
              <a:t>2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2909888" y="5240338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90BF8E7-BF5E-48F3-AEBB-5C4E5CAB9899}" type="datetime'''''''L''''''''''''''''''''''''''''ab''''''e''''''''''l'">
              <a:rPr lang="en-US"/>
              <a:pPr/>
              <a:t>Label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3025775" y="2265363"/>
            <a:ext cx="2762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02FF372-C01A-4A9B-BF6C-C9D325D353A4}" type="datetime'''''''''''''1''''''''''''''''''''''''''9'''''''''''''''''''">
              <a:rPr lang="en-US"/>
              <a:pPr/>
              <a:t>19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3025775" y="3827463"/>
            <a:ext cx="2762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C86CEEA-95DE-4BF2-896E-620834C47C02}" type="datetime'''1''''''''''''''''''''''''5'''''''''''''''">
              <a:rPr lang="en-US"/>
              <a:pPr/>
              <a:t>15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2071688" y="5240338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498F82D-4AA2-473F-84C2-C7611D6CAF2C}" type="datetime'''''''''''''''''''''L''''''''''a''''''''''''b''''''''''e''l'''">
              <a:rPr lang="en-US"/>
              <a:pPr/>
              <a:t>Label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2244725" y="2760663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346E9EF-CDEC-4176-85EA-4C8A0F258D1A}" type="datetime'''''''''''''''''''''5'''''''''''''''''''''''''''''''''''''''">
              <a:rPr lang="en-US"/>
              <a:pPr/>
              <a:t>5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1233488" y="5240338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622548D-A064-4D9E-826F-E6C24FC0494D}" type="datetime'L''''''''''''''''a''''''''''''''''''''b''''''e''l'''''''">
              <a:rPr lang="en-US"/>
              <a:pPr/>
              <a:t>Label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406525" y="3370263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42F8D80-50D3-4D7D-B657-F83E4F2D21AF}" type="datetime'''''''''''''''''6'''''''''''''''''''''''''">
              <a:rPr lang="en-US"/>
              <a:pPr/>
              <a:t>6</a:t>
            </a:fld>
            <a:endParaRPr lang="en-US" noProof="0" dirty="0">
              <a:latin typeface="Arial"/>
              <a:ea typeface="ＭＳ Ｐゴシック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8654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UmdbVJEEKhQXdq3fRA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Z5fjsEBUycYF0L7ccn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.efJsFIkmva64tPF_18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HKRj7Fo0KFvskHVwFG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Yn8dDnzUmoXCxSmd7Z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JJ5PbFF06TYHG4Zryx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j0IqN14UyuRzZdG03z_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GrKhS706L4vbuIGNz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cAVn7AtkSnuUsMjiul7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ic2e8Y8UKmJp2D3Wyf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TOWtNlXkWwHEDlUnxE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6w_SYnU0SEYnvVAy9n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urXlYpkG1LV9Qn19l0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ZyiBDA6UCoN9q8XmPzC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xVctCLBEOvEXnu2shc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DNWpE6zkKZCqtQZuKQ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Opt5IQtEmISbhz5P4e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d0HikUNUmHu8CrNPfj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NgIS068E.s.9pggZqt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3ZmeZQ0uAMkLm8zUy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BPkA5MVEKXpRMMGN9q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w9tPmI2UqYYyzDrcf4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MZ3LIEh0yZ6VX2xJoC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aZCoF910KOLLxFTd77j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QJuol_NU2ABGnirRxG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YzusUZ_0mm0A4lR__k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UmdbVJEEKhQXdq3fRAd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Z5fjsEBUycYF0L7ccn3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waCk8oTUa_rX7SylNV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xPTrSE6UykX_ZDkL5p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ft6osBWUWERG8S4FRz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6dU8xqjUKKCf1y_Xyf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.FI5.y2UOkgWeOPVkN2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4Wsef7CkCTrtpOTjz8b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cF2YUdXEu2thcttx7G4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cFVa7PN0uUK6T34sx.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2SqlZbyUKXBz.y9xdRB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ic2e8Y8UKmJp2D3Wyf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IEV.xkC0mtbKh3KLk4m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OU3zHjJku87fNiAzXR_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MNjAWzfU6xUHBOZCBL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wlufd60OCgVesrooBK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MZ3LIEh0yZ6VX2xJoC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BdFZRmlEWTE3GHXA1VV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QJuol_NU2ABGnirRxG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XNalsEwE2Aj76eVWKv_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w9tPmI2UqYYyzDrcf4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xXYL95o0W3FfWnKSQLk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d0HikUNUmHu8CrNPfj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bERUMo40yeVvqcRqMW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ET92YQWEahHLop0tu96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RnEK834k6m.oE4AW5HW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NgIS068E.s.9pggZqt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16ZiKVeU.MxwFbP4cH4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SK_jKf50akGPYp9iy9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Oq4FarT0eWV0XwCWxA2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Opt5IQtEmISbhz5P4eN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Ao4ihC0mWFB96v7ZH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4.13GX4Uybk2Idm1Br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DNWpE6zkKZCqtQZuKQ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rIpdfJVk6x2nOjSAt7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ZyiBDA6UCoN9q8XmPzC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wgb8RUcUqmBMvDE5rE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</TotalTime>
  <Words>46</Words>
  <Application>Microsoft Office PowerPoint</Application>
  <PresentationFormat>Custom</PresentationFormat>
  <Paragraphs>43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5" baseType="lpstr">
      <vt:lpstr>Blank</vt:lpstr>
      <vt:lpstr>think-cell Slide</vt:lpstr>
      <vt:lpstr>Microsoft Graph Chart</vt:lpstr>
      <vt:lpstr>Single Series</vt:lpstr>
      <vt:lpstr>2 Series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Thomas Newton</dc:creator>
  <cp:lastModifiedBy>Thomas Newton</cp:lastModifiedBy>
  <cp:revision>10</cp:revision>
  <cp:lastPrinted>2008-09-19T11:06:26Z</cp:lastPrinted>
  <dcterms:created xsi:type="dcterms:W3CDTF">2013-08-02T17:21:04Z</dcterms:created>
  <dcterms:modified xsi:type="dcterms:W3CDTF">2013-08-02T17:3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